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EE77E5-DA29-4228-BAF2-332F9B2823D3}" v="49" dt="2023-03-16T21:56:23.61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2" d="100"/>
          <a:sy n="112" d="100"/>
        </p:scale>
        <p:origin x="138" y="34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05EE77E5-DA29-4228-BAF2-332F9B2823D3}"/>
    <pc:docChg chg="modSld">
      <pc:chgData name="Roberto Gallardo" userId="49a044883f185952" providerId="LiveId" clId="{05EE77E5-DA29-4228-BAF2-332F9B2823D3}" dt="2023-03-16T21:56:35.372" v="286" actId="1076"/>
      <pc:docMkLst>
        <pc:docMk/>
      </pc:docMkLst>
      <pc:sldChg chg="addSp modSp mod">
        <pc:chgData name="Roberto Gallardo" userId="49a044883f185952" providerId="LiveId" clId="{05EE77E5-DA29-4228-BAF2-332F9B2823D3}" dt="2023-03-16T21:51:36.753" v="97" actId="1076"/>
        <pc:sldMkLst>
          <pc:docMk/>
          <pc:sldMk cId="1418533539" sldId="271"/>
        </pc:sldMkLst>
        <pc:picChg chg="add mod">
          <ac:chgData name="Roberto Gallardo" userId="49a044883f185952" providerId="LiveId" clId="{05EE77E5-DA29-4228-BAF2-332F9B2823D3}" dt="2023-03-16T21:51:36.753" v="97" actId="1076"/>
          <ac:picMkLst>
            <pc:docMk/>
            <pc:sldMk cId="1418533539" sldId="271"/>
            <ac:picMk id="6" creationId="{8D492C06-DD59-E892-5C91-6EBA6C1EE5E0}"/>
          </ac:picMkLst>
        </pc:picChg>
      </pc:sldChg>
      <pc:sldChg chg="addSp modSp mod">
        <pc:chgData name="Roberto Gallardo" userId="49a044883f185952" providerId="LiveId" clId="{05EE77E5-DA29-4228-BAF2-332F9B2823D3}" dt="2023-03-16T21:53:11.596" v="153" actId="1076"/>
        <pc:sldMkLst>
          <pc:docMk/>
          <pc:sldMk cId="2124848710" sldId="281"/>
        </pc:sldMkLst>
        <pc:picChg chg="add mod">
          <ac:chgData name="Roberto Gallardo" userId="49a044883f185952" providerId="LiveId" clId="{05EE77E5-DA29-4228-BAF2-332F9B2823D3}" dt="2023-03-16T21:53:11.596" v="153" actId="1076"/>
          <ac:picMkLst>
            <pc:docMk/>
            <pc:sldMk cId="2124848710" sldId="281"/>
            <ac:picMk id="6" creationId="{88A44ECD-1DEA-A554-D2A2-FED3AE6E3BA1}"/>
          </ac:picMkLst>
        </pc:picChg>
      </pc:sldChg>
      <pc:sldChg chg="addSp modSp mod">
        <pc:chgData name="Roberto Gallardo" userId="49a044883f185952" providerId="LiveId" clId="{05EE77E5-DA29-4228-BAF2-332F9B2823D3}" dt="2023-03-16T21:53:24.581" v="162" actId="1076"/>
        <pc:sldMkLst>
          <pc:docMk/>
          <pc:sldMk cId="2028175529" sldId="282"/>
        </pc:sldMkLst>
        <pc:picChg chg="add mod">
          <ac:chgData name="Roberto Gallardo" userId="49a044883f185952" providerId="LiveId" clId="{05EE77E5-DA29-4228-BAF2-332F9B2823D3}" dt="2023-03-16T21:53:24.581" v="162" actId="1076"/>
          <ac:picMkLst>
            <pc:docMk/>
            <pc:sldMk cId="2028175529" sldId="282"/>
            <ac:picMk id="7" creationId="{C4C285F9-D1A6-189B-E085-774C0D2AAABE}"/>
          </ac:picMkLst>
        </pc:picChg>
      </pc:sldChg>
      <pc:sldChg chg="addSp modSp mod">
        <pc:chgData name="Roberto Gallardo" userId="49a044883f185952" providerId="LiveId" clId="{05EE77E5-DA29-4228-BAF2-332F9B2823D3}" dt="2023-03-16T21:53:41.549" v="172" actId="1076"/>
        <pc:sldMkLst>
          <pc:docMk/>
          <pc:sldMk cId="1326517747" sldId="283"/>
        </pc:sldMkLst>
        <pc:picChg chg="add mod">
          <ac:chgData name="Roberto Gallardo" userId="49a044883f185952" providerId="LiveId" clId="{05EE77E5-DA29-4228-BAF2-332F9B2823D3}" dt="2023-03-16T21:53:41.549" v="172" actId="1076"/>
          <ac:picMkLst>
            <pc:docMk/>
            <pc:sldMk cId="1326517747" sldId="283"/>
            <ac:picMk id="7" creationId="{E6C4027A-2854-1438-BE15-6DCBFEB2F7A4}"/>
          </ac:picMkLst>
        </pc:picChg>
      </pc:sldChg>
      <pc:sldChg chg="addSp modSp mod">
        <pc:chgData name="Roberto Gallardo" userId="49a044883f185952" providerId="LiveId" clId="{05EE77E5-DA29-4228-BAF2-332F9B2823D3}" dt="2023-03-16T21:53:58.525" v="183" actId="1076"/>
        <pc:sldMkLst>
          <pc:docMk/>
          <pc:sldMk cId="783739251" sldId="284"/>
        </pc:sldMkLst>
        <pc:picChg chg="add mod">
          <ac:chgData name="Roberto Gallardo" userId="49a044883f185952" providerId="LiveId" clId="{05EE77E5-DA29-4228-BAF2-332F9B2823D3}" dt="2023-03-16T21:53:58.525" v="183" actId="1076"/>
          <ac:picMkLst>
            <pc:docMk/>
            <pc:sldMk cId="783739251" sldId="284"/>
            <ac:picMk id="7" creationId="{5B7A4A3D-0972-6EBC-72FC-D23E3A97FA70}"/>
          </ac:picMkLst>
        </pc:picChg>
      </pc:sldChg>
      <pc:sldChg chg="addSp modSp mod">
        <pc:chgData name="Roberto Gallardo" userId="49a044883f185952" providerId="LiveId" clId="{05EE77E5-DA29-4228-BAF2-332F9B2823D3}" dt="2023-03-16T21:54:15.880" v="196" actId="1076"/>
        <pc:sldMkLst>
          <pc:docMk/>
          <pc:sldMk cId="1676122233" sldId="285"/>
        </pc:sldMkLst>
        <pc:picChg chg="add mod">
          <ac:chgData name="Roberto Gallardo" userId="49a044883f185952" providerId="LiveId" clId="{05EE77E5-DA29-4228-BAF2-332F9B2823D3}" dt="2023-03-16T21:54:15.880" v="196" actId="1076"/>
          <ac:picMkLst>
            <pc:docMk/>
            <pc:sldMk cId="1676122233" sldId="285"/>
            <ac:picMk id="7" creationId="{48B5FED6-E385-0891-A93C-A256D5C5A743}"/>
          </ac:picMkLst>
        </pc:picChg>
      </pc:sldChg>
      <pc:sldChg chg="addSp modSp mod">
        <pc:chgData name="Roberto Gallardo" userId="49a044883f185952" providerId="LiveId" clId="{05EE77E5-DA29-4228-BAF2-332F9B2823D3}" dt="2023-03-16T21:54:34.425" v="209" actId="1076"/>
        <pc:sldMkLst>
          <pc:docMk/>
          <pc:sldMk cId="3100398757" sldId="286"/>
        </pc:sldMkLst>
        <pc:picChg chg="add mod">
          <ac:chgData name="Roberto Gallardo" userId="49a044883f185952" providerId="LiveId" clId="{05EE77E5-DA29-4228-BAF2-332F9B2823D3}" dt="2023-03-16T21:54:34.425" v="209" actId="1076"/>
          <ac:picMkLst>
            <pc:docMk/>
            <pc:sldMk cId="3100398757" sldId="286"/>
            <ac:picMk id="7" creationId="{040CB279-C691-F094-EE2F-4F92E21A88FF}"/>
          </ac:picMkLst>
        </pc:picChg>
      </pc:sldChg>
      <pc:sldChg chg="addSp modSp mod">
        <pc:chgData name="Roberto Gallardo" userId="49a044883f185952" providerId="LiveId" clId="{05EE77E5-DA29-4228-BAF2-332F9B2823D3}" dt="2023-03-16T21:54:52.497" v="220" actId="1076"/>
        <pc:sldMkLst>
          <pc:docMk/>
          <pc:sldMk cId="1546475425" sldId="287"/>
        </pc:sldMkLst>
        <pc:picChg chg="add mod">
          <ac:chgData name="Roberto Gallardo" userId="49a044883f185952" providerId="LiveId" clId="{05EE77E5-DA29-4228-BAF2-332F9B2823D3}" dt="2023-03-16T21:54:52.497" v="220" actId="1076"/>
          <ac:picMkLst>
            <pc:docMk/>
            <pc:sldMk cId="1546475425" sldId="287"/>
            <ac:picMk id="7" creationId="{6B5C4BA3-D78F-7BCA-0695-243E8EE22D02}"/>
          </ac:picMkLst>
        </pc:picChg>
      </pc:sldChg>
      <pc:sldChg chg="addSp modSp mod">
        <pc:chgData name="Roberto Gallardo" userId="49a044883f185952" providerId="LiveId" clId="{05EE77E5-DA29-4228-BAF2-332F9B2823D3}" dt="2023-03-16T21:55:29.617" v="245" actId="1076"/>
        <pc:sldMkLst>
          <pc:docMk/>
          <pc:sldMk cId="1380517306" sldId="288"/>
        </pc:sldMkLst>
        <pc:picChg chg="add mod">
          <ac:chgData name="Roberto Gallardo" userId="49a044883f185952" providerId="LiveId" clId="{05EE77E5-DA29-4228-BAF2-332F9B2823D3}" dt="2023-03-16T21:55:29.617" v="245" actId="1076"/>
          <ac:picMkLst>
            <pc:docMk/>
            <pc:sldMk cId="1380517306" sldId="288"/>
            <ac:picMk id="7" creationId="{277F451E-CCFE-A1A5-66C4-3EBCD3A32CEB}"/>
          </ac:picMkLst>
        </pc:picChg>
      </pc:sldChg>
      <pc:sldChg chg="addSp modSp mod">
        <pc:chgData name="Roberto Gallardo" userId="49a044883f185952" providerId="LiveId" clId="{05EE77E5-DA29-4228-BAF2-332F9B2823D3}" dt="2023-03-16T21:55:45.093" v="254" actId="1076"/>
        <pc:sldMkLst>
          <pc:docMk/>
          <pc:sldMk cId="1388671151" sldId="289"/>
        </pc:sldMkLst>
        <pc:picChg chg="add mod">
          <ac:chgData name="Roberto Gallardo" userId="49a044883f185952" providerId="LiveId" clId="{05EE77E5-DA29-4228-BAF2-332F9B2823D3}" dt="2023-03-16T21:55:45.093" v="254" actId="1076"/>
          <ac:picMkLst>
            <pc:docMk/>
            <pc:sldMk cId="1388671151" sldId="289"/>
            <ac:picMk id="7" creationId="{7B5B35E7-6D9A-16B8-075B-C6947B33F11C}"/>
          </ac:picMkLst>
        </pc:picChg>
      </pc:sldChg>
      <pc:sldChg chg="addSp modSp mod">
        <pc:chgData name="Roberto Gallardo" userId="49a044883f185952" providerId="LiveId" clId="{05EE77E5-DA29-4228-BAF2-332F9B2823D3}" dt="2023-03-16T21:56:17.621" v="276" actId="1076"/>
        <pc:sldMkLst>
          <pc:docMk/>
          <pc:sldMk cId="2355376039" sldId="290"/>
        </pc:sldMkLst>
        <pc:picChg chg="add mod">
          <ac:chgData name="Roberto Gallardo" userId="49a044883f185952" providerId="LiveId" clId="{05EE77E5-DA29-4228-BAF2-332F9B2823D3}" dt="2023-03-16T21:56:17.621" v="276" actId="1076"/>
          <ac:picMkLst>
            <pc:docMk/>
            <pc:sldMk cId="2355376039" sldId="290"/>
            <ac:picMk id="8" creationId="{E6443DEC-D284-1C0D-B9B4-70FE3B981BE0}"/>
          </ac:picMkLst>
        </pc:picChg>
      </pc:sldChg>
      <pc:sldChg chg="addSp modSp mod">
        <pc:chgData name="Roberto Gallardo" userId="49a044883f185952" providerId="LiveId" clId="{05EE77E5-DA29-4228-BAF2-332F9B2823D3}" dt="2023-03-16T21:56:35.372" v="286" actId="1076"/>
        <pc:sldMkLst>
          <pc:docMk/>
          <pc:sldMk cId="3757257295" sldId="291"/>
        </pc:sldMkLst>
        <pc:picChg chg="add mod">
          <ac:chgData name="Roberto Gallardo" userId="49a044883f185952" providerId="LiveId" clId="{05EE77E5-DA29-4228-BAF2-332F9B2823D3}" dt="2023-03-16T21:56:35.372" v="286" actId="1076"/>
          <ac:picMkLst>
            <pc:docMk/>
            <pc:sldMk cId="3757257295" sldId="291"/>
            <ac:picMk id="8" creationId="{1947442B-AF19-8C88-9C30-8A3EB4EEF57B}"/>
          </ac:picMkLst>
        </pc:picChg>
      </pc:sldChg>
      <pc:sldChg chg="addSp modSp mod">
        <pc:chgData name="Roberto Gallardo" userId="49a044883f185952" providerId="LiveId" clId="{05EE77E5-DA29-4228-BAF2-332F9B2823D3}" dt="2023-03-16T21:55:08.912" v="230" actId="1076"/>
        <pc:sldMkLst>
          <pc:docMk/>
          <pc:sldMk cId="1259856727" sldId="292"/>
        </pc:sldMkLst>
        <pc:picChg chg="add mod">
          <ac:chgData name="Roberto Gallardo" userId="49a044883f185952" providerId="LiveId" clId="{05EE77E5-DA29-4228-BAF2-332F9B2823D3}" dt="2023-03-16T21:55:08.912" v="230" actId="1076"/>
          <ac:picMkLst>
            <pc:docMk/>
            <pc:sldMk cId="1259856727" sldId="292"/>
            <ac:picMk id="7" creationId="{9832222D-1AE7-0E88-CDCF-BA827CD7C906}"/>
          </ac:picMkLst>
        </pc:picChg>
      </pc:sldChg>
      <pc:sldChg chg="addSp modSp mod">
        <pc:chgData name="Roberto Gallardo" userId="49a044883f185952" providerId="LiveId" clId="{05EE77E5-DA29-4228-BAF2-332F9B2823D3}" dt="2023-03-16T21:52:51.582" v="142" actId="1076"/>
        <pc:sldMkLst>
          <pc:docMk/>
          <pc:sldMk cId="3324519687" sldId="293"/>
        </pc:sldMkLst>
        <pc:picChg chg="add mod">
          <ac:chgData name="Roberto Gallardo" userId="49a044883f185952" providerId="LiveId" clId="{05EE77E5-DA29-4228-BAF2-332F9B2823D3}" dt="2023-03-16T21:52:51.582" v="142" actId="1076"/>
          <ac:picMkLst>
            <pc:docMk/>
            <pc:sldMk cId="3324519687" sldId="293"/>
            <ac:picMk id="7" creationId="{179EC0F4-9078-A7A9-FCB6-988B587EDF58}"/>
          </ac:picMkLst>
        </pc:picChg>
      </pc:sldChg>
      <pc:sldChg chg="addSp modSp mod">
        <pc:chgData name="Roberto Gallardo" userId="49a044883f185952" providerId="LiveId" clId="{05EE77E5-DA29-4228-BAF2-332F9B2823D3}" dt="2023-03-16T21:52:17.710" v="118" actId="1076"/>
        <pc:sldMkLst>
          <pc:docMk/>
          <pc:sldMk cId="3256182630" sldId="295"/>
        </pc:sldMkLst>
        <pc:picChg chg="add mod">
          <ac:chgData name="Roberto Gallardo" userId="49a044883f185952" providerId="LiveId" clId="{05EE77E5-DA29-4228-BAF2-332F9B2823D3}" dt="2023-03-16T21:52:17.710" v="118" actId="1076"/>
          <ac:picMkLst>
            <pc:docMk/>
            <pc:sldMk cId="3256182630" sldId="295"/>
            <ac:picMk id="7" creationId="{25EF426A-29BF-A46E-6726-C1E229D2A3F3}"/>
          </ac:picMkLst>
        </pc:picChg>
      </pc:sldChg>
      <pc:sldChg chg="addSp modSp mod">
        <pc:chgData name="Roberto Gallardo" userId="49a044883f185952" providerId="LiveId" clId="{05EE77E5-DA29-4228-BAF2-332F9B2823D3}" dt="2023-03-16T21:52:38.405" v="134" actId="1076"/>
        <pc:sldMkLst>
          <pc:docMk/>
          <pc:sldMk cId="4057156843" sldId="296"/>
        </pc:sldMkLst>
        <pc:picChg chg="add mod">
          <ac:chgData name="Roberto Gallardo" userId="49a044883f185952" providerId="LiveId" clId="{05EE77E5-DA29-4228-BAF2-332F9B2823D3}" dt="2023-03-16T21:52:38.405" v="134" actId="1076"/>
          <ac:picMkLst>
            <pc:docMk/>
            <pc:sldMk cId="4057156843" sldId="296"/>
            <ac:picMk id="7" creationId="{D9CCE1D8-F1FC-3896-39E3-539CA0CB1DF7}"/>
          </ac:picMkLst>
        </pc:picChg>
      </pc:sldChg>
      <pc:sldChg chg="addSp modSp mod">
        <pc:chgData name="Roberto Gallardo" userId="49a044883f185952" providerId="LiveId" clId="{05EE77E5-DA29-4228-BAF2-332F9B2823D3}" dt="2023-03-16T21:52:04.593" v="111" actId="1076"/>
        <pc:sldMkLst>
          <pc:docMk/>
          <pc:sldMk cId="2080110827" sldId="297"/>
        </pc:sldMkLst>
        <pc:picChg chg="add mod">
          <ac:chgData name="Roberto Gallardo" userId="49a044883f185952" providerId="LiveId" clId="{05EE77E5-DA29-4228-BAF2-332F9B2823D3}" dt="2023-03-16T21:52:04.593" v="111" actId="1076"/>
          <ac:picMkLst>
            <pc:docMk/>
            <pc:sldMk cId="2080110827" sldId="297"/>
            <ac:picMk id="6" creationId="{51D688CE-0111-385F-B1E8-E0694435C438}"/>
          </ac:picMkLst>
        </pc:picChg>
      </pc:sldChg>
      <pc:sldChg chg="addSp modSp mod">
        <pc:chgData name="Roberto Gallardo" userId="49a044883f185952" providerId="LiveId" clId="{05EE77E5-DA29-4228-BAF2-332F9B2823D3}" dt="2023-03-16T21:51:51.017" v="104" actId="1076"/>
        <pc:sldMkLst>
          <pc:docMk/>
          <pc:sldMk cId="1532666867" sldId="298"/>
        </pc:sldMkLst>
        <pc:picChg chg="add mod">
          <ac:chgData name="Roberto Gallardo" userId="49a044883f185952" providerId="LiveId" clId="{05EE77E5-DA29-4228-BAF2-332F9B2823D3}" dt="2023-03-16T21:51:51.017" v="104" actId="1076"/>
          <ac:picMkLst>
            <pc:docMk/>
            <pc:sldMk cId="1532666867" sldId="298"/>
            <ac:picMk id="6" creationId="{5EB4946F-47C7-201F-0473-CBAF208D70E0}"/>
          </ac:picMkLst>
        </pc:picChg>
      </pc:sldChg>
      <pc:sldChg chg="addSp modSp mod">
        <pc:chgData name="Roberto Gallardo" userId="49a044883f185952" providerId="LiveId" clId="{05EE77E5-DA29-4228-BAF2-332F9B2823D3}" dt="2023-03-16T21:56:03.951" v="268" actId="1076"/>
        <pc:sldMkLst>
          <pc:docMk/>
          <pc:sldMk cId="1951376777" sldId="299"/>
        </pc:sldMkLst>
        <pc:picChg chg="add mod">
          <ac:chgData name="Roberto Gallardo" userId="49a044883f185952" providerId="LiveId" clId="{05EE77E5-DA29-4228-BAF2-332F9B2823D3}" dt="2023-03-16T21:56:03.951" v="268" actId="1076"/>
          <ac:picMkLst>
            <pc:docMk/>
            <pc:sldMk cId="1951376777" sldId="299"/>
            <ac:picMk id="7" creationId="{1E44AF26-07B7-3B25-50B1-0E1F961EF93C}"/>
          </ac:picMkLst>
        </pc:picChg>
      </pc:sldChg>
      <pc:sldChg chg="modSp mod">
        <pc:chgData name="Roberto Gallardo" userId="49a044883f185952" providerId="LiveId" clId="{05EE77E5-DA29-4228-BAF2-332F9B2823D3}" dt="2023-03-15T01:04:12.538" v="90" actId="14100"/>
        <pc:sldMkLst>
          <pc:docMk/>
          <pc:sldMk cId="2366022307" sldId="306"/>
        </pc:sldMkLst>
        <pc:spChg chg="mod">
          <ac:chgData name="Roberto Gallardo" userId="49a044883f185952" providerId="LiveId" clId="{05EE77E5-DA29-4228-BAF2-332F9B2823D3}" dt="2023-03-15T01:03:44.909" v="36" actId="1036"/>
          <ac:spMkLst>
            <pc:docMk/>
            <pc:sldMk cId="2366022307" sldId="306"/>
            <ac:spMk id="9" creationId="{EB4CC4F6-2F6B-8AF9-8151-CB2C0FF4BAC4}"/>
          </ac:spMkLst>
        </pc:spChg>
        <pc:spChg chg="mod">
          <ac:chgData name="Roberto Gallardo" userId="49a044883f185952" providerId="LiveId" clId="{05EE77E5-DA29-4228-BAF2-332F9B2823D3}" dt="2023-03-15T01:04:01.751" v="69" actId="1036"/>
          <ac:spMkLst>
            <pc:docMk/>
            <pc:sldMk cId="2366022307" sldId="306"/>
            <ac:spMk id="46" creationId="{52B269F4-652B-D23F-EF95-1155C4354D29}"/>
          </ac:spMkLst>
        </pc:spChg>
        <pc:grpChg chg="mod">
          <ac:chgData name="Roberto Gallardo" userId="49a044883f185952" providerId="LiveId" clId="{05EE77E5-DA29-4228-BAF2-332F9B2823D3}" dt="2023-03-15T01:03:33.411" v="10" actId="1036"/>
          <ac:grpSpMkLst>
            <pc:docMk/>
            <pc:sldMk cId="2366022307" sldId="306"/>
            <ac:grpSpMk id="8" creationId="{1CBA6D1F-E797-72F7-A3DF-455B0E8BBE6C}"/>
          </ac:grpSpMkLst>
        </pc:grpChg>
        <pc:grpChg chg="mod">
          <ac:chgData name="Roberto Gallardo" userId="49a044883f185952" providerId="LiveId" clId="{05EE77E5-DA29-4228-BAF2-332F9B2823D3}" dt="2023-03-15T01:03:38.449" v="25" actId="1036"/>
          <ac:grpSpMkLst>
            <pc:docMk/>
            <pc:sldMk cId="2366022307" sldId="306"/>
            <ac:grpSpMk id="45" creationId="{2902D712-F65D-4B84-922C-94FE2466E393}"/>
          </ac:grpSpMkLst>
        </pc:grpChg>
        <pc:cxnChg chg="mod">
          <ac:chgData name="Roberto Gallardo" userId="49a044883f185952" providerId="LiveId" clId="{05EE77E5-DA29-4228-BAF2-332F9B2823D3}" dt="2023-03-15T01:03:53.210" v="59" actId="1036"/>
          <ac:cxnSpMkLst>
            <pc:docMk/>
            <pc:sldMk cId="2366022307" sldId="306"/>
            <ac:cxnSpMk id="13" creationId="{1D0B6E64-E4A0-FEB0-ABC4-B26C8EF7542E}"/>
          </ac:cxnSpMkLst>
        </pc:cxnChg>
        <pc:cxnChg chg="mod">
          <ac:chgData name="Roberto Gallardo" userId="49a044883f185952" providerId="LiveId" clId="{05EE77E5-DA29-4228-BAF2-332F9B2823D3}" dt="2023-03-15T01:03:56.914" v="60" actId="14100"/>
          <ac:cxnSpMkLst>
            <pc:docMk/>
            <pc:sldMk cId="2366022307" sldId="306"/>
            <ac:cxnSpMk id="14" creationId="{15AB37BA-8065-3082-3040-FB8974BC0126}"/>
          </ac:cxnSpMkLst>
        </pc:cxnChg>
        <pc:cxnChg chg="mod">
          <ac:chgData name="Roberto Gallardo" userId="49a044883f185952" providerId="LiveId" clId="{05EE77E5-DA29-4228-BAF2-332F9B2823D3}" dt="2023-03-15T01:03:47.339" v="37" actId="14100"/>
          <ac:cxnSpMkLst>
            <pc:docMk/>
            <pc:sldMk cId="2366022307" sldId="306"/>
            <ac:cxnSpMk id="15" creationId="{BCCCC111-CA7C-CAB0-EAC5-333D5A26296D}"/>
          </ac:cxnSpMkLst>
        </pc:cxnChg>
        <pc:cxnChg chg="mod">
          <ac:chgData name="Roberto Gallardo" userId="49a044883f185952" providerId="LiveId" clId="{05EE77E5-DA29-4228-BAF2-332F9B2823D3}" dt="2023-03-15T01:04:10.006" v="89" actId="1035"/>
          <ac:cxnSpMkLst>
            <pc:docMk/>
            <pc:sldMk cId="2366022307" sldId="306"/>
            <ac:cxnSpMk id="48" creationId="{80DFC008-E763-20E3-3C15-3CBA9E682CBC}"/>
          </ac:cxnSpMkLst>
        </pc:cxnChg>
        <pc:cxnChg chg="mod">
          <ac:chgData name="Roberto Gallardo" userId="49a044883f185952" providerId="LiveId" clId="{05EE77E5-DA29-4228-BAF2-332F9B2823D3}" dt="2023-03-15T01:04:12.538" v="90" actId="14100"/>
          <ac:cxnSpMkLst>
            <pc:docMk/>
            <pc:sldMk cId="2366022307" sldId="306"/>
            <ac:cxnSpMk id="49" creationId="{1AE555B9-B516-CC3B-86D2-58C679E1A7C1}"/>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dirty="0">
                <a:solidFill>
                  <a:schemeClr val="bg1"/>
                </a:solidFill>
              </a:rPr>
              <a:t>Durham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3913FF5F-1A28-E7D6-2C65-075FDE519D83}"/>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3FC97EEF-6CE1-E34D-191D-D5270767A5DF}"/>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8D492C06-DD59-E892-5C91-6EBA6C1EE5E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5EB4946F-47C7-201F-0473-CBAF208D70E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51D688CE-0111-385F-B1E8-E0694435C4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734BA63E-4843-C8C9-5AD8-69EE51A78BC0}"/>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25EF426A-29BF-A46E-6726-C1E229D2A3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F93EE19-CFE2-6222-AD83-47A63FDB7473}"/>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D9CCE1D8-F1FC-3896-39E3-539CA0CB1D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36097"/>
            <a:ext cx="6400801"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3DDC61BA-5879-78DC-099B-B497384D5B5C}"/>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179EC0F4-9078-A7A9-FCB6-988B587EDF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063E82C-CBC2-FA7F-09DB-7BF4E2D8B36F}"/>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88A44ECD-1DEA-A554-D2A2-FED3AE6E3B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2221"/>
            <a:ext cx="6392966" cy="4520832"/>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10FC6A3-0752-1914-E53D-753D6311C1BD}"/>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C4C285F9-D1A6-189B-E085-774C0D2AAA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49367E9-F6FA-2BC7-210B-8FC0E9A00AB8}"/>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E6C4027A-2854-1438-BE15-6DCBFEB2F7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4FB38AA-B976-26EE-F1AB-920FDF15B132}"/>
              </a:ext>
            </a:extLst>
          </p:cNvPr>
          <p:cNvPicPr/>
          <p:nvPr/>
        </p:nvPicPr>
        <p:blipFill>
          <a:blip r:embed="rId2"/>
          <a:stretch>
            <a:fillRect/>
          </a:stretch>
        </p:blipFill>
        <p:spPr>
          <a:xfrm>
            <a:off x="152400" y="1783079"/>
            <a:ext cx="5295900" cy="3795173"/>
          </a:xfrm>
          <a:prstGeom prst="rect">
            <a:avLst/>
          </a:prstGeom>
        </p:spPr>
      </p:pic>
      <p:pic>
        <p:nvPicPr>
          <p:cNvPr id="7" name="Picture 6" descr="Diagram, map&#10;&#10;Description automatically generated">
            <a:extLst>
              <a:ext uri="{FF2B5EF4-FFF2-40B4-BE49-F238E27FC236}">
                <a16:creationId xmlns:a16="http://schemas.microsoft.com/office/drawing/2014/main" id="{5B7A4A3D-0972-6EBC-72FC-D23E3A97FA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FFE6564-D2D2-BCC5-5192-1BF92E51F524}"/>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48B5FED6-E385-0891-A93C-A256D5C5A7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389"/>
            <a:ext cx="6400800" cy="4526372"/>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678A9B4-1F40-0550-9AFD-AFFBA43B1CF2}"/>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040CB279-C691-F094-EE2F-4F92E21A88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11682"/>
            <a:ext cx="6396666" cy="4523449"/>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3BC27ADE-C9BA-EDF8-06EE-73BDB0BBD2B4}"/>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6B5C4BA3-D78F-7BCA-0695-243E8EE22D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3CAF5C1-B6FF-2568-C6F0-E9895C802918}"/>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9832222D-1AE7-0E88-CDCF-BA827CD7C9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4"/>
            <a:ext cx="6400800"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F5C8164-1953-FD70-778E-01F81A89CCCB}"/>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277F451E-CCFE-A1A5-66C4-3EBCD3A32C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C316156-E970-B2AB-8554-9194DFE8ADF9}"/>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7B5B35E7-6D9A-16B8-075B-C6947B33F1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20B87D17-B13E-02A8-8C15-F8FFA5C2C04B}"/>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1E44AF26-07B7-3B25-50B1-0E1F961EF9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7911" y="1413347"/>
            <a:ext cx="6401689" cy="4527000"/>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895A5EC6-453E-0807-9282-186D71179F16}"/>
              </a:ext>
            </a:extLst>
          </p:cNvPr>
          <p:cNvPicPr/>
          <p:nvPr/>
        </p:nvPicPr>
        <p:blipFill>
          <a:blip r:embed="rId2"/>
          <a:stretch>
            <a:fillRect/>
          </a:stretch>
        </p:blipFill>
        <p:spPr>
          <a:xfrm>
            <a:off x="156412" y="1783318"/>
            <a:ext cx="5291888" cy="3790406"/>
          </a:xfrm>
          <a:prstGeom prst="rect">
            <a:avLst/>
          </a:prstGeom>
        </p:spPr>
      </p:pic>
      <p:pic>
        <p:nvPicPr>
          <p:cNvPr id="8" name="Picture 7" descr="Diagram, map&#10;&#10;Description automatically generated">
            <a:extLst>
              <a:ext uri="{FF2B5EF4-FFF2-40B4-BE49-F238E27FC236}">
                <a16:creationId xmlns:a16="http://schemas.microsoft.com/office/drawing/2014/main" id="{E6443DEC-D284-1C0D-B9B4-70FE3B981B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4788" y="1415335"/>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A7AA93AD-40B3-AB13-D2CB-FB8FC0408247}"/>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3804EBA5-B970-900A-9D4F-91A5A607D19F}"/>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1947442B-AF19-8C88-9C30-8A3EB4EEF5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75"/>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EABA4C27-1B39-DC23-9396-E7885F0870E6}"/>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674CCD1-255B-99E3-512B-9953FDBB68A8}"/>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741B9E9-6FFB-4EAD-BF48-C5F9961BD455}"/>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2140012"/>
            <a:ext cx="1198148" cy="2286246"/>
            <a:chOff x="2775759" y="2205764"/>
            <a:chExt cx="1198148" cy="2286246"/>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98854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220576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2205764"/>
              <a:ext cx="0" cy="782785"/>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881101"/>
              <a:ext cx="0" cy="61090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42684" y="1485203"/>
            <a:ext cx="1198148" cy="2507685"/>
            <a:chOff x="10485745" y="1715361"/>
            <a:chExt cx="1198148" cy="2507685"/>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241200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8.2</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22304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171536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1715361"/>
              <a:ext cx="0" cy="6966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304556"/>
              <a:ext cx="0" cy="91849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2352036"/>
            <a:ext cx="1198148" cy="2017488"/>
            <a:chOff x="2775759" y="2474522"/>
            <a:chExt cx="1198148" cy="2017488"/>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30547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47452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486201"/>
              <a:ext cx="0" cy="56850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69640" y="1817356"/>
            <a:ext cx="1198148" cy="2008308"/>
            <a:chOff x="2775759" y="2536499"/>
            <a:chExt cx="1198148" cy="2008308"/>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308285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53649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536499"/>
              <a:ext cx="0" cy="54635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975410"/>
              <a:ext cx="0" cy="56939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DCA405CA-48B0-8B43-44F2-261655B915C0}"/>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7216C62B-5FA4-B2BB-BEB8-D0FCB1C94030}"/>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47D773E-A823-D17A-CF95-141B8DC2ADD1}"/>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8A593043-14D1-E83D-2616-83BBF53D21A6}"/>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176CEC3-15C3-F719-7180-DAA6DA878A0D}"/>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F73C8CB-0A6A-5854-966E-F44C890A54C8}"/>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C4E93089-7A29-9891-D7D8-63E453A74A02}"/>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60C975E9-BB8C-7BAE-B754-E359E6ED863E}"/>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53</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76</cp:revision>
  <dcterms:created xsi:type="dcterms:W3CDTF">2022-07-04T13:32:28Z</dcterms:created>
  <dcterms:modified xsi:type="dcterms:W3CDTF">2023-03-16T21:56:39Z</dcterms:modified>
</cp:coreProperties>
</file>